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4" r:id="rId4"/>
    <p:sldMasterId id="2147483674" r:id="rId5"/>
    <p:sldMasterId id="2147483683" r:id="rId6"/>
    <p:sldMasterId id="2147483692" r:id="rId7"/>
    <p:sldMasterId id="2147483701" r:id="rId8"/>
  </p:sldMasterIdLst>
  <p:notesMasterIdLst>
    <p:notesMasterId r:id="rId13"/>
  </p:notesMasterIdLst>
  <p:handoutMasterIdLst>
    <p:handoutMasterId r:id="rId14"/>
  </p:handoutMasterIdLst>
  <p:sldIdLst>
    <p:sldId id="256" r:id="rId9"/>
    <p:sldId id="1844" r:id="rId10"/>
    <p:sldId id="1845" r:id="rId11"/>
    <p:sldId id="1846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09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D3EFCE"/>
    <a:srgbClr val="BCFFDB"/>
    <a:srgbClr val="D6E3FF"/>
    <a:srgbClr val="F7F7F7"/>
    <a:srgbClr val="EBF2FF"/>
    <a:srgbClr val="C00000"/>
    <a:srgbClr val="FFC000"/>
    <a:srgbClr val="FFE48F"/>
    <a:srgbClr val="E5F4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ADC0BDD-06FA-4B23-9DCA-2E20BE68209F}" v="1" dt="2020-10-27T05:17:18.168"/>
    <p1510:client id="{7BAC2CA3-526E-44FB-B77B-B280B50FB94B}" v="60" dt="2020-10-27T05:15:20.28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844" autoAdjust="0"/>
    <p:restoredTop sz="96229" autoAdjust="0"/>
  </p:normalViewPr>
  <p:slideViewPr>
    <p:cSldViewPr snapToGrid="0">
      <p:cViewPr varScale="1">
        <p:scale>
          <a:sx n="110" d="100"/>
          <a:sy n="110" d="100"/>
        </p:scale>
        <p:origin x="1020" y="108"/>
      </p:cViewPr>
      <p:guideLst>
        <p:guide orient="horz" pos="2409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674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2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handoutMaster" Target="handoutMasters/handout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urelien Domont" userId="6da7715ce44349b3" providerId="LiveId" clId="{6ADC0BDD-06FA-4B23-9DCA-2E20BE68209F}"/>
    <pc:docChg chg="modSld">
      <pc:chgData name="Aurelien Domont" userId="6da7715ce44349b3" providerId="LiveId" clId="{6ADC0BDD-06FA-4B23-9DCA-2E20BE68209F}" dt="2020-10-27T05:17:18.168" v="0"/>
      <pc:docMkLst>
        <pc:docMk/>
      </pc:docMkLst>
      <pc:sldChg chg="modSp">
        <pc:chgData name="Aurelien Domont" userId="6da7715ce44349b3" providerId="LiveId" clId="{6ADC0BDD-06FA-4B23-9DCA-2E20BE68209F}" dt="2020-10-27T05:17:18.168" v="0"/>
        <pc:sldMkLst>
          <pc:docMk/>
          <pc:sldMk cId="3131901387" sldId="256"/>
        </pc:sldMkLst>
        <pc:spChg chg="mod">
          <ac:chgData name="Aurelien Domont" userId="6da7715ce44349b3" providerId="LiveId" clId="{6ADC0BDD-06FA-4B23-9DCA-2E20BE68209F}" dt="2020-10-27T05:17:18.168" v="0"/>
          <ac:spMkLst>
            <pc:docMk/>
            <pc:sldMk cId="3131901387" sldId="256"/>
            <ac:spMk id="2" creationId="{5261080C-C60C-4746-B6B1-A9A4FFA86785}"/>
          </ac:spMkLst>
        </pc:spChg>
      </pc:sldChg>
      <pc:sldChg chg="modSp">
        <pc:chgData name="Aurelien Domont" userId="6da7715ce44349b3" providerId="LiveId" clId="{6ADC0BDD-06FA-4B23-9DCA-2E20BE68209F}" dt="2020-10-27T05:17:18.168" v="0"/>
        <pc:sldMkLst>
          <pc:docMk/>
          <pc:sldMk cId="1891197090" sldId="1844"/>
        </pc:sldMkLst>
        <pc:spChg chg="mod">
          <ac:chgData name="Aurelien Domont" userId="6da7715ce44349b3" providerId="LiveId" clId="{6ADC0BDD-06FA-4B23-9DCA-2E20BE68209F}" dt="2020-10-27T05:17:18.168" v="0"/>
          <ac:spMkLst>
            <pc:docMk/>
            <pc:sldMk cId="1891197090" sldId="1844"/>
            <ac:spMk id="16" creationId="{6C2BB713-9637-4B9B-938F-E9768876782A}"/>
          </ac:spMkLst>
        </pc:spChg>
      </pc:sldChg>
      <pc:sldChg chg="modSp">
        <pc:chgData name="Aurelien Domont" userId="6da7715ce44349b3" providerId="LiveId" clId="{6ADC0BDD-06FA-4B23-9DCA-2E20BE68209F}" dt="2020-10-27T05:17:18.168" v="0"/>
        <pc:sldMkLst>
          <pc:docMk/>
          <pc:sldMk cId="2138421829" sldId="1845"/>
        </pc:sldMkLst>
        <pc:spChg chg="mod">
          <ac:chgData name="Aurelien Domont" userId="6da7715ce44349b3" providerId="LiveId" clId="{6ADC0BDD-06FA-4B23-9DCA-2E20BE68209F}" dt="2020-10-27T05:17:18.168" v="0"/>
          <ac:spMkLst>
            <pc:docMk/>
            <pc:sldMk cId="2138421829" sldId="1845"/>
            <ac:spMk id="16" creationId="{6C2BB713-9637-4B9B-938F-E9768876782A}"/>
          </ac:spMkLst>
        </pc:spChg>
      </pc:sldChg>
      <pc:sldChg chg="modSp">
        <pc:chgData name="Aurelien Domont" userId="6da7715ce44349b3" providerId="LiveId" clId="{6ADC0BDD-06FA-4B23-9DCA-2E20BE68209F}" dt="2020-10-27T05:17:18.168" v="0"/>
        <pc:sldMkLst>
          <pc:docMk/>
          <pc:sldMk cId="501933781" sldId="1846"/>
        </pc:sldMkLst>
        <pc:spChg chg="mod">
          <ac:chgData name="Aurelien Domont" userId="6da7715ce44349b3" providerId="LiveId" clId="{6ADC0BDD-06FA-4B23-9DCA-2E20BE68209F}" dt="2020-10-27T05:17:18.168" v="0"/>
          <ac:spMkLst>
            <pc:docMk/>
            <pc:sldMk cId="501933781" sldId="1846"/>
            <ac:spMk id="16" creationId="{6C2BB713-9637-4B9B-938F-E9768876782A}"/>
          </ac:spMkLst>
        </pc:spChg>
      </pc:sldChg>
    </pc:docChg>
  </pc:docChgLst>
  <pc:docChgLst>
    <pc:chgData name="Aurelien Domont" userId="6da7715ce44349b3" providerId="LiveId" clId="{2BA44522-0AAA-46D6-B960-162DF0B02CBE}"/>
    <pc:docChg chg="custSel modSld">
      <pc:chgData name="Aurelien Domont" userId="6da7715ce44349b3" providerId="LiveId" clId="{2BA44522-0AAA-46D6-B960-162DF0B02CBE}" dt="2020-10-27T03:07:41.846" v="71" actId="313"/>
      <pc:docMkLst>
        <pc:docMk/>
      </pc:docMkLst>
      <pc:sldChg chg="delSp modSp mod">
        <pc:chgData name="Aurelien Domont" userId="6da7715ce44349b3" providerId="LiveId" clId="{2BA44522-0AAA-46D6-B960-162DF0B02CBE}" dt="2020-10-27T03:07:41.846" v="71" actId="313"/>
        <pc:sldMkLst>
          <pc:docMk/>
          <pc:sldMk cId="3131901387" sldId="256"/>
        </pc:sldMkLst>
        <pc:spChg chg="mod">
          <ac:chgData name="Aurelien Domont" userId="6da7715ce44349b3" providerId="LiveId" clId="{2BA44522-0AAA-46D6-B960-162DF0B02CBE}" dt="2020-10-27T03:07:41.846" v="71" actId="313"/>
          <ac:spMkLst>
            <pc:docMk/>
            <pc:sldMk cId="3131901387" sldId="256"/>
            <ac:spMk id="2" creationId="{5261080C-C60C-4746-B6B1-A9A4FFA86785}"/>
          </ac:spMkLst>
        </pc:spChg>
        <pc:spChg chg="mod">
          <ac:chgData name="Aurelien Domont" userId="6da7715ce44349b3" providerId="LiveId" clId="{2BA44522-0AAA-46D6-B960-162DF0B02CBE}" dt="2020-10-27T03:07:01.526" v="34" actId="14100"/>
          <ac:spMkLst>
            <pc:docMk/>
            <pc:sldMk cId="3131901387" sldId="256"/>
            <ac:spMk id="3" creationId="{D781CD62-85AB-400E-A66C-9594AAD807B4}"/>
          </ac:spMkLst>
        </pc:spChg>
        <pc:picChg chg="mod">
          <ac:chgData name="Aurelien Domont" userId="6da7715ce44349b3" providerId="LiveId" clId="{2BA44522-0AAA-46D6-B960-162DF0B02CBE}" dt="2020-10-27T03:05:55.397" v="0" actId="1076"/>
          <ac:picMkLst>
            <pc:docMk/>
            <pc:sldMk cId="3131901387" sldId="256"/>
            <ac:picMk id="7" creationId="{56F6D9FE-2BD8-43FA-8517-544E7B92AA1A}"/>
          </ac:picMkLst>
        </pc:picChg>
        <pc:picChg chg="del mod">
          <ac:chgData name="Aurelien Domont" userId="6da7715ce44349b3" providerId="LiveId" clId="{2BA44522-0AAA-46D6-B960-162DF0B02CBE}" dt="2020-10-27T03:06:38.711" v="28" actId="478"/>
          <ac:picMkLst>
            <pc:docMk/>
            <pc:sldMk cId="3131901387" sldId="256"/>
            <ac:picMk id="14" creationId="{575896A4-CAC7-497C-810A-8A8F3F93025F}"/>
          </ac:picMkLst>
        </pc:picChg>
      </pc:sldChg>
    </pc:docChg>
  </pc:docChgLst>
  <pc:docChgLst>
    <pc:chgData name="Aurelien Domont" userId="6da7715ce44349b3" providerId="LiveId" clId="{7BAC2CA3-526E-44FB-B77B-B280B50FB94B}"/>
    <pc:docChg chg="undo redo custSel addSld delSld modSld">
      <pc:chgData name="Aurelien Domont" userId="6da7715ce44349b3" providerId="LiveId" clId="{7BAC2CA3-526E-44FB-B77B-B280B50FB94B}" dt="2020-10-27T05:15:20.289" v="1384"/>
      <pc:docMkLst>
        <pc:docMk/>
      </pc:docMkLst>
      <pc:sldChg chg="modSp mod">
        <pc:chgData name="Aurelien Domont" userId="6da7715ce44349b3" providerId="LiveId" clId="{7BAC2CA3-526E-44FB-B77B-B280B50FB94B}" dt="2020-10-27T03:44:34.487" v="8" actId="1036"/>
        <pc:sldMkLst>
          <pc:docMk/>
          <pc:sldMk cId="3131901387" sldId="256"/>
        </pc:sldMkLst>
        <pc:spChg chg="mod">
          <ac:chgData name="Aurelien Domont" userId="6da7715ce44349b3" providerId="LiveId" clId="{7BAC2CA3-526E-44FB-B77B-B280B50FB94B}" dt="2020-10-27T03:44:34.487" v="8" actId="1036"/>
          <ac:spMkLst>
            <pc:docMk/>
            <pc:sldMk cId="3131901387" sldId="256"/>
            <ac:spMk id="2" creationId="{5261080C-C60C-4746-B6B1-A9A4FFA86785}"/>
          </ac:spMkLst>
        </pc:spChg>
      </pc:sldChg>
      <pc:sldChg chg="del">
        <pc:chgData name="Aurelien Domont" userId="6da7715ce44349b3" providerId="LiveId" clId="{7BAC2CA3-526E-44FB-B77B-B280B50FB94B}" dt="2020-10-27T03:45:43.831" v="10" actId="47"/>
        <pc:sldMkLst>
          <pc:docMk/>
          <pc:sldMk cId="3692499981" sldId="1597"/>
        </pc:sldMkLst>
      </pc:sldChg>
      <pc:sldChg chg="del">
        <pc:chgData name="Aurelien Domont" userId="6da7715ce44349b3" providerId="LiveId" clId="{7BAC2CA3-526E-44FB-B77B-B280B50FB94B}" dt="2020-10-27T03:45:43.831" v="10" actId="47"/>
        <pc:sldMkLst>
          <pc:docMk/>
          <pc:sldMk cId="1754585881" sldId="1598"/>
        </pc:sldMkLst>
      </pc:sldChg>
      <pc:sldChg chg="del">
        <pc:chgData name="Aurelien Domont" userId="6da7715ce44349b3" providerId="LiveId" clId="{7BAC2CA3-526E-44FB-B77B-B280B50FB94B}" dt="2020-10-27T03:45:43.831" v="10" actId="47"/>
        <pc:sldMkLst>
          <pc:docMk/>
          <pc:sldMk cId="748962572" sldId="1599"/>
        </pc:sldMkLst>
      </pc:sldChg>
      <pc:sldChg chg="del">
        <pc:chgData name="Aurelien Domont" userId="6da7715ce44349b3" providerId="LiveId" clId="{7BAC2CA3-526E-44FB-B77B-B280B50FB94B}" dt="2020-10-27T03:45:43.831" v="10" actId="47"/>
        <pc:sldMkLst>
          <pc:docMk/>
          <pc:sldMk cId="2853806433" sldId="1600"/>
        </pc:sldMkLst>
      </pc:sldChg>
      <pc:sldChg chg="del">
        <pc:chgData name="Aurelien Domont" userId="6da7715ce44349b3" providerId="LiveId" clId="{7BAC2CA3-526E-44FB-B77B-B280B50FB94B}" dt="2020-10-27T03:45:07.075" v="9" actId="47"/>
        <pc:sldMkLst>
          <pc:docMk/>
          <pc:sldMk cId="9867922" sldId="1808"/>
        </pc:sldMkLst>
      </pc:sldChg>
      <pc:sldChg chg="del">
        <pc:chgData name="Aurelien Domont" userId="6da7715ce44349b3" providerId="LiveId" clId="{7BAC2CA3-526E-44FB-B77B-B280B50FB94B}" dt="2020-10-27T03:45:07.075" v="9" actId="47"/>
        <pc:sldMkLst>
          <pc:docMk/>
          <pc:sldMk cId="1731686811" sldId="1837"/>
        </pc:sldMkLst>
      </pc:sldChg>
      <pc:sldChg chg="del">
        <pc:chgData name="Aurelien Domont" userId="6da7715ce44349b3" providerId="LiveId" clId="{7BAC2CA3-526E-44FB-B77B-B280B50FB94B}" dt="2020-10-27T03:45:07.075" v="9" actId="47"/>
        <pc:sldMkLst>
          <pc:docMk/>
          <pc:sldMk cId="889375178" sldId="1838"/>
        </pc:sldMkLst>
      </pc:sldChg>
      <pc:sldChg chg="del">
        <pc:chgData name="Aurelien Domont" userId="6da7715ce44349b3" providerId="LiveId" clId="{7BAC2CA3-526E-44FB-B77B-B280B50FB94B}" dt="2020-10-27T03:45:07.075" v="9" actId="47"/>
        <pc:sldMkLst>
          <pc:docMk/>
          <pc:sldMk cId="3806977209" sldId="1839"/>
        </pc:sldMkLst>
      </pc:sldChg>
      <pc:sldChg chg="del">
        <pc:chgData name="Aurelien Domont" userId="6da7715ce44349b3" providerId="LiveId" clId="{7BAC2CA3-526E-44FB-B77B-B280B50FB94B}" dt="2020-10-27T03:45:07.075" v="9" actId="47"/>
        <pc:sldMkLst>
          <pc:docMk/>
          <pc:sldMk cId="1104121548" sldId="1840"/>
        </pc:sldMkLst>
      </pc:sldChg>
      <pc:sldChg chg="del">
        <pc:chgData name="Aurelien Domont" userId="6da7715ce44349b3" providerId="LiveId" clId="{7BAC2CA3-526E-44FB-B77B-B280B50FB94B}" dt="2020-10-27T03:45:07.075" v="9" actId="47"/>
        <pc:sldMkLst>
          <pc:docMk/>
          <pc:sldMk cId="919636543" sldId="1841"/>
        </pc:sldMkLst>
      </pc:sldChg>
      <pc:sldChg chg="modSp del mod">
        <pc:chgData name="Aurelien Domont" userId="6da7715ce44349b3" providerId="LiveId" clId="{7BAC2CA3-526E-44FB-B77B-B280B50FB94B}" dt="2020-10-27T04:02:34.229" v="197" actId="47"/>
        <pc:sldMkLst>
          <pc:docMk/>
          <pc:sldMk cId="1118675400" sldId="1843"/>
        </pc:sldMkLst>
        <pc:spChg chg="mod">
          <ac:chgData name="Aurelien Domont" userId="6da7715ce44349b3" providerId="LiveId" clId="{7BAC2CA3-526E-44FB-B77B-B280B50FB94B}" dt="2020-10-27T03:50:58.025" v="15" actId="404"/>
          <ac:spMkLst>
            <pc:docMk/>
            <pc:sldMk cId="1118675400" sldId="1843"/>
            <ac:spMk id="3" creationId="{CE2529A3-BA97-486F-9E02-8DFAAA7D8D38}"/>
          </ac:spMkLst>
        </pc:spChg>
        <pc:spChg chg="mod">
          <ac:chgData name="Aurelien Domont" userId="6da7715ce44349b3" providerId="LiveId" clId="{7BAC2CA3-526E-44FB-B77B-B280B50FB94B}" dt="2020-10-27T03:52:36.375" v="40" actId="20577"/>
          <ac:spMkLst>
            <pc:docMk/>
            <pc:sldMk cId="1118675400" sldId="1843"/>
            <ac:spMk id="16" creationId="{6C2BB713-9637-4B9B-938F-E9768876782A}"/>
          </ac:spMkLst>
        </pc:spChg>
        <pc:graphicFrameChg chg="mod modGraphic">
          <ac:chgData name="Aurelien Domont" userId="6da7715ce44349b3" providerId="LiveId" clId="{7BAC2CA3-526E-44FB-B77B-B280B50FB94B}" dt="2020-10-27T03:56:56.268" v="83" actId="20577"/>
          <ac:graphicFrameMkLst>
            <pc:docMk/>
            <pc:sldMk cId="1118675400" sldId="1843"/>
            <ac:graphicFrameMk id="10" creationId="{C97B4D14-17F6-46C4-92AE-CB17C728BFD8}"/>
          </ac:graphicFrameMkLst>
        </pc:graphicFrameChg>
      </pc:sldChg>
      <pc:sldChg chg="addSp delSp modSp add mod">
        <pc:chgData name="Aurelien Domont" userId="6da7715ce44349b3" providerId="LiveId" clId="{7BAC2CA3-526E-44FB-B77B-B280B50FB94B}" dt="2020-10-27T05:14:57.556" v="1383" actId="20577"/>
        <pc:sldMkLst>
          <pc:docMk/>
          <pc:sldMk cId="1891197090" sldId="1844"/>
        </pc:sldMkLst>
        <pc:spChg chg="add del mod">
          <ac:chgData name="Aurelien Domont" userId="6da7715ce44349b3" providerId="LiveId" clId="{7BAC2CA3-526E-44FB-B77B-B280B50FB94B}" dt="2020-10-27T04:17:05.244" v="282" actId="478"/>
          <ac:spMkLst>
            <pc:docMk/>
            <pc:sldMk cId="1891197090" sldId="1844"/>
            <ac:spMk id="2" creationId="{50D950D8-8B8D-4C95-9041-6254BFF6F2C2}"/>
          </ac:spMkLst>
        </pc:spChg>
        <pc:spChg chg="add del mod">
          <ac:chgData name="Aurelien Domont" userId="6da7715ce44349b3" providerId="LiveId" clId="{7BAC2CA3-526E-44FB-B77B-B280B50FB94B}" dt="2020-10-27T04:17:09.388" v="284" actId="478"/>
          <ac:spMkLst>
            <pc:docMk/>
            <pc:sldMk cId="1891197090" sldId="1844"/>
            <ac:spMk id="4" creationId="{47A2629B-5B84-493A-8EA4-92D696F05075}"/>
          </ac:spMkLst>
        </pc:spChg>
        <pc:spChg chg="add del mod">
          <ac:chgData name="Aurelien Domont" userId="6da7715ce44349b3" providerId="LiveId" clId="{7BAC2CA3-526E-44FB-B77B-B280B50FB94B}" dt="2020-10-27T04:17:08.731" v="283" actId="478"/>
          <ac:spMkLst>
            <pc:docMk/>
            <pc:sldMk cId="1891197090" sldId="1844"/>
            <ac:spMk id="5" creationId="{35687CAF-F2B7-46E5-9D17-59989F431CA4}"/>
          </ac:spMkLst>
        </pc:spChg>
        <pc:spChg chg="add del mod">
          <ac:chgData name="Aurelien Domont" userId="6da7715ce44349b3" providerId="LiveId" clId="{7BAC2CA3-526E-44FB-B77B-B280B50FB94B}" dt="2020-10-27T04:30:41.912" v="343" actId="478"/>
          <ac:spMkLst>
            <pc:docMk/>
            <pc:sldMk cId="1891197090" sldId="1844"/>
            <ac:spMk id="7" creationId="{95F05349-46CD-4DC7-9663-402DF1A62047}"/>
          </ac:spMkLst>
        </pc:spChg>
        <pc:spChg chg="add del mod">
          <ac:chgData name="Aurelien Domont" userId="6da7715ce44349b3" providerId="LiveId" clId="{7BAC2CA3-526E-44FB-B77B-B280B50FB94B}" dt="2020-10-27T04:30:41.912" v="343" actId="478"/>
          <ac:spMkLst>
            <pc:docMk/>
            <pc:sldMk cId="1891197090" sldId="1844"/>
            <ac:spMk id="9" creationId="{151F0709-E95B-4C02-B4BA-8C0E864A9E9F}"/>
          </ac:spMkLst>
        </pc:spChg>
        <pc:spChg chg="add mod">
          <ac:chgData name="Aurelien Domont" userId="6da7715ce44349b3" providerId="LiveId" clId="{7BAC2CA3-526E-44FB-B77B-B280B50FB94B}" dt="2020-10-27T04:44:34.397" v="409" actId="20577"/>
          <ac:spMkLst>
            <pc:docMk/>
            <pc:sldMk cId="1891197090" sldId="1844"/>
            <ac:spMk id="15" creationId="{EEF272B5-B676-43D3-A2E6-FD83A340BBF0}"/>
          </ac:spMkLst>
        </pc:spChg>
        <pc:spChg chg="mod">
          <ac:chgData name="Aurelien Domont" userId="6da7715ce44349b3" providerId="LiveId" clId="{7BAC2CA3-526E-44FB-B77B-B280B50FB94B}" dt="2020-10-27T04:02:43.749" v="204" actId="20577"/>
          <ac:spMkLst>
            <pc:docMk/>
            <pc:sldMk cId="1891197090" sldId="1844"/>
            <ac:spMk id="16" creationId="{6C2BB713-9637-4B9B-938F-E9768876782A}"/>
          </ac:spMkLst>
        </pc:spChg>
        <pc:spChg chg="add mod">
          <ac:chgData name="Aurelien Domont" userId="6da7715ce44349b3" providerId="LiveId" clId="{7BAC2CA3-526E-44FB-B77B-B280B50FB94B}" dt="2020-10-27T04:44:51.608" v="413" actId="20577"/>
          <ac:spMkLst>
            <pc:docMk/>
            <pc:sldMk cId="1891197090" sldId="1844"/>
            <ac:spMk id="18" creationId="{AAF9FC20-02C3-4862-9325-1A4A588C82FE}"/>
          </ac:spMkLst>
        </pc:spChg>
        <pc:spChg chg="add mod">
          <ac:chgData name="Aurelien Domont" userId="6da7715ce44349b3" providerId="LiveId" clId="{7BAC2CA3-526E-44FB-B77B-B280B50FB94B}" dt="2020-10-27T04:45:00.838" v="417" actId="20577"/>
          <ac:spMkLst>
            <pc:docMk/>
            <pc:sldMk cId="1891197090" sldId="1844"/>
            <ac:spMk id="19" creationId="{77BBBDD1-CB08-45B2-A324-415853E5C568}"/>
          </ac:spMkLst>
        </pc:spChg>
        <pc:spChg chg="add mod">
          <ac:chgData name="Aurelien Domont" userId="6da7715ce44349b3" providerId="LiveId" clId="{7BAC2CA3-526E-44FB-B77B-B280B50FB94B}" dt="2020-10-27T04:35:41.127" v="358" actId="1076"/>
          <ac:spMkLst>
            <pc:docMk/>
            <pc:sldMk cId="1891197090" sldId="1844"/>
            <ac:spMk id="21" creationId="{DEAD642D-FE06-4E62-9E80-D0624E8068B2}"/>
          </ac:spMkLst>
        </pc:spChg>
        <pc:spChg chg="add mod">
          <ac:chgData name="Aurelien Domont" userId="6da7715ce44349b3" providerId="LiveId" clId="{7BAC2CA3-526E-44FB-B77B-B280B50FB94B}" dt="2020-10-27T04:35:37.248" v="357" actId="1076"/>
          <ac:spMkLst>
            <pc:docMk/>
            <pc:sldMk cId="1891197090" sldId="1844"/>
            <ac:spMk id="23" creationId="{1BFDB3B1-A074-42BE-BDC7-6208C40771E3}"/>
          </ac:spMkLst>
        </pc:spChg>
        <pc:spChg chg="add mod">
          <ac:chgData name="Aurelien Domont" userId="6da7715ce44349b3" providerId="LiveId" clId="{7BAC2CA3-526E-44FB-B77B-B280B50FB94B}" dt="2020-10-27T04:35:44.184" v="359" actId="1076"/>
          <ac:spMkLst>
            <pc:docMk/>
            <pc:sldMk cId="1891197090" sldId="1844"/>
            <ac:spMk id="25" creationId="{4A0BBC20-B160-4C45-8180-7E5EB91BFB57}"/>
          </ac:spMkLst>
        </pc:spChg>
        <pc:graphicFrameChg chg="mod modGraphic">
          <ac:chgData name="Aurelien Domont" userId="6da7715ce44349b3" providerId="LiveId" clId="{7BAC2CA3-526E-44FB-B77B-B280B50FB94B}" dt="2020-10-27T05:14:57.556" v="1383" actId="20577"/>
          <ac:graphicFrameMkLst>
            <pc:docMk/>
            <pc:sldMk cId="1891197090" sldId="1844"/>
            <ac:graphicFrameMk id="10" creationId="{C97B4D14-17F6-46C4-92AE-CB17C728BFD8}"/>
          </ac:graphicFrameMkLst>
        </pc:graphicFrameChg>
      </pc:sldChg>
      <pc:sldChg chg="del">
        <pc:chgData name="Aurelien Domont" userId="6da7715ce44349b3" providerId="LiveId" clId="{7BAC2CA3-526E-44FB-B77B-B280B50FB94B}" dt="2020-10-27T03:45:43.831" v="10" actId="47"/>
        <pc:sldMkLst>
          <pc:docMk/>
          <pc:sldMk cId="2051299408" sldId="1844"/>
        </pc:sldMkLst>
      </pc:sldChg>
      <pc:sldChg chg="del">
        <pc:chgData name="Aurelien Domont" userId="6da7715ce44349b3" providerId="LiveId" clId="{7BAC2CA3-526E-44FB-B77B-B280B50FB94B}" dt="2020-10-27T03:45:43.831" v="10" actId="47"/>
        <pc:sldMkLst>
          <pc:docMk/>
          <pc:sldMk cId="875473973" sldId="1845"/>
        </pc:sldMkLst>
      </pc:sldChg>
      <pc:sldChg chg="addSp delSp modSp add mod">
        <pc:chgData name="Aurelien Domont" userId="6da7715ce44349b3" providerId="LiveId" clId="{7BAC2CA3-526E-44FB-B77B-B280B50FB94B}" dt="2020-10-27T05:15:20.289" v="1384"/>
        <pc:sldMkLst>
          <pc:docMk/>
          <pc:sldMk cId="2138421829" sldId="1845"/>
        </pc:sldMkLst>
        <pc:spChg chg="add mod">
          <ac:chgData name="Aurelien Domont" userId="6da7715ce44349b3" providerId="LiveId" clId="{7BAC2CA3-526E-44FB-B77B-B280B50FB94B}" dt="2020-10-27T04:50:37.971" v="488" actId="14100"/>
          <ac:spMkLst>
            <pc:docMk/>
            <pc:sldMk cId="2138421829" sldId="1845"/>
            <ac:spMk id="2" creationId="{000479BB-683E-4523-8388-2FB99CC6DF1C}"/>
          </ac:spMkLst>
        </pc:spChg>
        <pc:spChg chg="add mod">
          <ac:chgData name="Aurelien Domont" userId="6da7715ce44349b3" providerId="LiveId" clId="{7BAC2CA3-526E-44FB-B77B-B280B50FB94B}" dt="2020-10-27T04:50:37.971" v="488" actId="14100"/>
          <ac:spMkLst>
            <pc:docMk/>
            <pc:sldMk cId="2138421829" sldId="1845"/>
            <ac:spMk id="4" creationId="{E8A411BF-26DF-44D9-8CCC-11611318E0D9}"/>
          </ac:spMkLst>
        </pc:spChg>
        <pc:spChg chg="add mod">
          <ac:chgData name="Aurelien Domont" userId="6da7715ce44349b3" providerId="LiveId" clId="{7BAC2CA3-526E-44FB-B77B-B280B50FB94B}" dt="2020-10-27T04:50:37.971" v="488" actId="14100"/>
          <ac:spMkLst>
            <pc:docMk/>
            <pc:sldMk cId="2138421829" sldId="1845"/>
            <ac:spMk id="5" creationId="{C615FF1B-6695-4F9B-ADC6-8B7CDAE45D36}"/>
          </ac:spMkLst>
        </pc:spChg>
        <pc:spChg chg="add">
          <ac:chgData name="Aurelien Domont" userId="6da7715ce44349b3" providerId="LiveId" clId="{7BAC2CA3-526E-44FB-B77B-B280B50FB94B}" dt="2020-10-27T04:45:30.042" v="418" actId="22"/>
          <ac:spMkLst>
            <pc:docMk/>
            <pc:sldMk cId="2138421829" sldId="1845"/>
            <ac:spMk id="7" creationId="{DB3A123A-0BED-433F-B01F-04140C766AAA}"/>
          </ac:spMkLst>
        </pc:spChg>
        <pc:spChg chg="add">
          <ac:chgData name="Aurelien Domont" userId="6da7715ce44349b3" providerId="LiveId" clId="{7BAC2CA3-526E-44FB-B77B-B280B50FB94B}" dt="2020-10-27T04:45:30.042" v="418" actId="22"/>
          <ac:spMkLst>
            <pc:docMk/>
            <pc:sldMk cId="2138421829" sldId="1845"/>
            <ac:spMk id="9" creationId="{436110AD-8609-4B2F-8259-6AA101A5696F}"/>
          </ac:spMkLst>
        </pc:spChg>
        <pc:spChg chg="add">
          <ac:chgData name="Aurelien Domont" userId="6da7715ce44349b3" providerId="LiveId" clId="{7BAC2CA3-526E-44FB-B77B-B280B50FB94B}" dt="2020-10-27T04:45:30.042" v="418" actId="22"/>
          <ac:spMkLst>
            <pc:docMk/>
            <pc:sldMk cId="2138421829" sldId="1845"/>
            <ac:spMk id="15" creationId="{F56B5EA7-1E0D-4007-95E4-68E54E6D4533}"/>
          </ac:spMkLst>
        </pc:spChg>
        <pc:spChg chg="mod">
          <ac:chgData name="Aurelien Domont" userId="6da7715ce44349b3" providerId="LiveId" clId="{7BAC2CA3-526E-44FB-B77B-B280B50FB94B}" dt="2020-10-27T04:07:11.432" v="244" actId="20577"/>
          <ac:spMkLst>
            <pc:docMk/>
            <pc:sldMk cId="2138421829" sldId="1845"/>
            <ac:spMk id="16" creationId="{6C2BB713-9637-4B9B-938F-E9768876782A}"/>
          </ac:spMkLst>
        </pc:spChg>
        <pc:spChg chg="add del">
          <ac:chgData name="Aurelien Domont" userId="6da7715ce44349b3" providerId="LiveId" clId="{7BAC2CA3-526E-44FB-B77B-B280B50FB94B}" dt="2020-10-27T04:45:40.372" v="420" actId="22"/>
          <ac:spMkLst>
            <pc:docMk/>
            <pc:sldMk cId="2138421829" sldId="1845"/>
            <ac:spMk id="19" creationId="{7813CA18-9F4E-481A-BB43-96B29A3EB6A1}"/>
          </ac:spMkLst>
        </pc:spChg>
        <pc:spChg chg="add del">
          <ac:chgData name="Aurelien Domont" userId="6da7715ce44349b3" providerId="LiveId" clId="{7BAC2CA3-526E-44FB-B77B-B280B50FB94B}" dt="2020-10-27T04:45:40.372" v="420" actId="22"/>
          <ac:spMkLst>
            <pc:docMk/>
            <pc:sldMk cId="2138421829" sldId="1845"/>
            <ac:spMk id="21" creationId="{4ECD9BB6-D5DB-45BC-A150-CA3D1ABCCCFC}"/>
          </ac:spMkLst>
        </pc:spChg>
        <pc:spChg chg="add del">
          <ac:chgData name="Aurelien Domont" userId="6da7715ce44349b3" providerId="LiveId" clId="{7BAC2CA3-526E-44FB-B77B-B280B50FB94B}" dt="2020-10-27T04:45:40.372" v="420" actId="22"/>
          <ac:spMkLst>
            <pc:docMk/>
            <pc:sldMk cId="2138421829" sldId="1845"/>
            <ac:spMk id="23" creationId="{BF703376-2487-49B7-A36B-794FCB9DD2D7}"/>
          </ac:spMkLst>
        </pc:spChg>
        <pc:spChg chg="add del">
          <ac:chgData name="Aurelien Domont" userId="6da7715ce44349b3" providerId="LiveId" clId="{7BAC2CA3-526E-44FB-B77B-B280B50FB94B}" dt="2020-10-27T04:45:40.372" v="420" actId="22"/>
          <ac:spMkLst>
            <pc:docMk/>
            <pc:sldMk cId="2138421829" sldId="1845"/>
            <ac:spMk id="25" creationId="{4E94A627-24A4-4A18-A912-E2A6FD529308}"/>
          </ac:spMkLst>
        </pc:spChg>
        <pc:spChg chg="add del">
          <ac:chgData name="Aurelien Domont" userId="6da7715ce44349b3" providerId="LiveId" clId="{7BAC2CA3-526E-44FB-B77B-B280B50FB94B}" dt="2020-10-27T04:45:40.372" v="420" actId="22"/>
          <ac:spMkLst>
            <pc:docMk/>
            <pc:sldMk cId="2138421829" sldId="1845"/>
            <ac:spMk id="27" creationId="{D070F419-6A12-4ABB-A12F-18384CFFB0A0}"/>
          </ac:spMkLst>
        </pc:spChg>
        <pc:spChg chg="add del">
          <ac:chgData name="Aurelien Domont" userId="6da7715ce44349b3" providerId="LiveId" clId="{7BAC2CA3-526E-44FB-B77B-B280B50FB94B}" dt="2020-10-27T04:45:40.372" v="420" actId="22"/>
          <ac:spMkLst>
            <pc:docMk/>
            <pc:sldMk cId="2138421829" sldId="1845"/>
            <ac:spMk id="29" creationId="{0BF33742-BF05-491A-A5BD-D39CBF22F9D7}"/>
          </ac:spMkLst>
        </pc:spChg>
        <pc:graphicFrameChg chg="mod modGraphic">
          <ac:chgData name="Aurelien Domont" userId="6da7715ce44349b3" providerId="LiveId" clId="{7BAC2CA3-526E-44FB-B77B-B280B50FB94B}" dt="2020-10-27T05:15:20.289" v="1384"/>
          <ac:graphicFrameMkLst>
            <pc:docMk/>
            <pc:sldMk cId="2138421829" sldId="1845"/>
            <ac:graphicFrameMk id="10" creationId="{C97B4D14-17F6-46C4-92AE-CB17C728BFD8}"/>
          </ac:graphicFrameMkLst>
        </pc:graphicFrameChg>
      </pc:sldChg>
      <pc:sldChg chg="delSp modSp add mod">
        <pc:chgData name="Aurelien Domont" userId="6da7715ce44349b3" providerId="LiveId" clId="{7BAC2CA3-526E-44FB-B77B-B280B50FB94B}" dt="2020-10-27T05:10:58.585" v="1101"/>
        <pc:sldMkLst>
          <pc:docMk/>
          <pc:sldMk cId="501933781" sldId="1846"/>
        </pc:sldMkLst>
        <pc:spChg chg="del">
          <ac:chgData name="Aurelien Domont" userId="6da7715ce44349b3" providerId="LiveId" clId="{7BAC2CA3-526E-44FB-B77B-B280B50FB94B}" dt="2020-10-27T05:00:02.316" v="553" actId="478"/>
          <ac:spMkLst>
            <pc:docMk/>
            <pc:sldMk cId="501933781" sldId="1846"/>
            <ac:spMk id="15" creationId="{EEF272B5-B676-43D3-A2E6-FD83A340BBF0}"/>
          </ac:spMkLst>
        </pc:spChg>
        <pc:spChg chg="mod">
          <ac:chgData name="Aurelien Domont" userId="6da7715ce44349b3" providerId="LiveId" clId="{7BAC2CA3-526E-44FB-B77B-B280B50FB94B}" dt="2020-10-27T05:04:33.455" v="712" actId="20577"/>
          <ac:spMkLst>
            <pc:docMk/>
            <pc:sldMk cId="501933781" sldId="1846"/>
            <ac:spMk id="16" creationId="{6C2BB713-9637-4B9B-938F-E9768876782A}"/>
          </ac:spMkLst>
        </pc:spChg>
        <pc:spChg chg="del">
          <ac:chgData name="Aurelien Domont" userId="6da7715ce44349b3" providerId="LiveId" clId="{7BAC2CA3-526E-44FB-B77B-B280B50FB94B}" dt="2020-10-27T05:00:02.316" v="553" actId="478"/>
          <ac:spMkLst>
            <pc:docMk/>
            <pc:sldMk cId="501933781" sldId="1846"/>
            <ac:spMk id="18" creationId="{AAF9FC20-02C3-4862-9325-1A4A588C82FE}"/>
          </ac:spMkLst>
        </pc:spChg>
        <pc:spChg chg="del">
          <ac:chgData name="Aurelien Domont" userId="6da7715ce44349b3" providerId="LiveId" clId="{7BAC2CA3-526E-44FB-B77B-B280B50FB94B}" dt="2020-10-27T05:00:02.316" v="553" actId="478"/>
          <ac:spMkLst>
            <pc:docMk/>
            <pc:sldMk cId="501933781" sldId="1846"/>
            <ac:spMk id="19" creationId="{77BBBDD1-CB08-45B2-A324-415853E5C568}"/>
          </ac:spMkLst>
        </pc:spChg>
        <pc:spChg chg="del">
          <ac:chgData name="Aurelien Domont" userId="6da7715ce44349b3" providerId="LiveId" clId="{7BAC2CA3-526E-44FB-B77B-B280B50FB94B}" dt="2020-10-27T04:59:59.099" v="552" actId="478"/>
          <ac:spMkLst>
            <pc:docMk/>
            <pc:sldMk cId="501933781" sldId="1846"/>
            <ac:spMk id="21" creationId="{DEAD642D-FE06-4E62-9E80-D0624E8068B2}"/>
          </ac:spMkLst>
        </pc:spChg>
        <pc:spChg chg="del">
          <ac:chgData name="Aurelien Domont" userId="6da7715ce44349b3" providerId="LiveId" clId="{7BAC2CA3-526E-44FB-B77B-B280B50FB94B}" dt="2020-10-27T04:59:59.099" v="552" actId="478"/>
          <ac:spMkLst>
            <pc:docMk/>
            <pc:sldMk cId="501933781" sldId="1846"/>
            <ac:spMk id="23" creationId="{1BFDB3B1-A074-42BE-BDC7-6208C40771E3}"/>
          </ac:spMkLst>
        </pc:spChg>
        <pc:spChg chg="del">
          <ac:chgData name="Aurelien Domont" userId="6da7715ce44349b3" providerId="LiveId" clId="{7BAC2CA3-526E-44FB-B77B-B280B50FB94B}" dt="2020-10-27T04:59:59.099" v="552" actId="478"/>
          <ac:spMkLst>
            <pc:docMk/>
            <pc:sldMk cId="501933781" sldId="1846"/>
            <ac:spMk id="25" creationId="{4A0BBC20-B160-4C45-8180-7E5EB91BFB57}"/>
          </ac:spMkLst>
        </pc:spChg>
        <pc:graphicFrameChg chg="mod modGraphic">
          <ac:chgData name="Aurelien Domont" userId="6da7715ce44349b3" providerId="LiveId" clId="{7BAC2CA3-526E-44FB-B77B-B280B50FB94B}" dt="2020-10-27T05:10:58.585" v="1101"/>
          <ac:graphicFrameMkLst>
            <pc:docMk/>
            <pc:sldMk cId="501933781" sldId="1846"/>
            <ac:graphicFrameMk id="10" creationId="{C97B4D14-17F6-46C4-92AE-CB17C728BFD8}"/>
          </ac:graphicFrameMkLst>
        </pc:graphicFrameChg>
      </pc:sldChg>
      <pc:sldChg chg="modSp add del mod">
        <pc:chgData name="Aurelien Domont" userId="6da7715ce44349b3" providerId="LiveId" clId="{7BAC2CA3-526E-44FB-B77B-B280B50FB94B}" dt="2020-10-27T04:13:44.457" v="274" actId="47"/>
        <pc:sldMkLst>
          <pc:docMk/>
          <pc:sldMk cId="851458610" sldId="1846"/>
        </pc:sldMkLst>
        <pc:spChg chg="mod">
          <ac:chgData name="Aurelien Domont" userId="6da7715ce44349b3" providerId="LiveId" clId="{7BAC2CA3-526E-44FB-B77B-B280B50FB94B}" dt="2020-10-27T04:13:09.417" v="273" actId="20577"/>
          <ac:spMkLst>
            <pc:docMk/>
            <pc:sldMk cId="851458610" sldId="1846"/>
            <ac:spMk id="16" creationId="{6C2BB713-9637-4B9B-938F-E9768876782A}"/>
          </ac:spMkLst>
        </pc:spChg>
      </pc:sldChg>
      <pc:sldChg chg="del">
        <pc:chgData name="Aurelien Domont" userId="6da7715ce44349b3" providerId="LiveId" clId="{7BAC2CA3-526E-44FB-B77B-B280B50FB94B}" dt="2020-10-27T03:45:07.075" v="9" actId="47"/>
        <pc:sldMkLst>
          <pc:docMk/>
          <pc:sldMk cId="2069070322" sldId="1872"/>
        </pc:sldMkLst>
      </pc:sldChg>
      <pc:sldChg chg="del">
        <pc:chgData name="Aurelien Domont" userId="6da7715ce44349b3" providerId="LiveId" clId="{7BAC2CA3-526E-44FB-B77B-B280B50FB94B}" dt="2020-10-27T03:45:07.075" v="9" actId="47"/>
        <pc:sldMkLst>
          <pc:docMk/>
          <pc:sldMk cId="603504733" sldId="1873"/>
        </pc:sldMkLst>
      </pc:sldChg>
      <pc:sldChg chg="del">
        <pc:chgData name="Aurelien Domont" userId="6da7715ce44349b3" providerId="LiveId" clId="{7BAC2CA3-526E-44FB-B77B-B280B50FB94B}" dt="2020-10-27T03:45:43.831" v="10" actId="47"/>
        <pc:sldMkLst>
          <pc:docMk/>
          <pc:sldMk cId="1051262601" sldId="1874"/>
        </pc:sldMkLst>
      </pc:sldChg>
      <pc:sldChg chg="del">
        <pc:chgData name="Aurelien Domont" userId="6da7715ce44349b3" providerId="LiveId" clId="{7BAC2CA3-526E-44FB-B77B-B280B50FB94B}" dt="2020-10-27T03:45:43.831" v="10" actId="47"/>
        <pc:sldMkLst>
          <pc:docMk/>
          <pc:sldMk cId="479568309" sldId="1876"/>
        </pc:sldMkLst>
      </pc:sldChg>
      <pc:sldChg chg="del">
        <pc:chgData name="Aurelien Domont" userId="6da7715ce44349b3" providerId="LiveId" clId="{7BAC2CA3-526E-44FB-B77B-B280B50FB94B}" dt="2020-10-27T03:45:43.831" v="10" actId="47"/>
        <pc:sldMkLst>
          <pc:docMk/>
          <pc:sldMk cId="1391366953" sldId="1877"/>
        </pc:sldMkLst>
      </pc:sldChg>
      <pc:sldChg chg="del">
        <pc:chgData name="Aurelien Domont" userId="6da7715ce44349b3" providerId="LiveId" clId="{7BAC2CA3-526E-44FB-B77B-B280B50FB94B}" dt="2020-10-27T03:45:43.831" v="10" actId="47"/>
        <pc:sldMkLst>
          <pc:docMk/>
          <pc:sldMk cId="3687772373" sldId="1878"/>
        </pc:sldMkLst>
      </pc:sldChg>
      <pc:sldChg chg="del">
        <pc:chgData name="Aurelien Domont" userId="6da7715ce44349b3" providerId="LiveId" clId="{7BAC2CA3-526E-44FB-B77B-B280B50FB94B}" dt="2020-10-27T03:45:43.831" v="10" actId="47"/>
        <pc:sldMkLst>
          <pc:docMk/>
          <pc:sldMk cId="2015608312" sldId="1879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680FBE-A8DF-4758-9AC4-3A9E1039168F}" type="datetimeFigureOut">
              <a:rPr lang="en-US" smtClean="0"/>
              <a:t>10/27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679768-A2FC-4D08-91F6-8DCE6C566B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2551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13577B-6902-467D-A26C-08A0DD5E4E03}" type="datetimeFigureOut">
              <a:rPr lang="en-US" smtClean="0"/>
              <a:t>10/27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1EA0F-A667-4B49-8422-0062BC55E2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910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34898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5737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F2D8B4-9FB4-4D96-9007-33EC8070038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0856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3796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BF2B9F7-78D0-4608-9142-8D522C8441D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9335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874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09FE9F-7B21-4F83-B1CC-50B275636E2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935840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2295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D704037-1392-4A63-BE62-5105BFDE2C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52038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6906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99808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8584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3572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3164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34804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7717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854713-CC70-450B-A1B6-EEB1886D48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976975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2522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F2D8B4-9FB4-4D96-9007-33EC8070038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1200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0572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BF2B9F7-78D0-4608-9142-8D522C8441D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1201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0843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9438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09FE9F-7B21-4F83-B1CC-50B275636E2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361267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9968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D704037-1392-4A63-BE62-5105BFDE2C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7205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7028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68835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5201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60610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8341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1114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399057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611869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73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662813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346025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4764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4388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76765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3595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26230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90004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77154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2972955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7491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519158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413031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47215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7930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30955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8636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57268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6437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5412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6885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94433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1335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854713-CC70-450B-A1B6-EEB1886D48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733383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3.xml"/><Relationship Id="rId10" Type="http://schemas.openxmlformats.org/officeDocument/2006/relationships/vmlDrawing" Target="../drawings/vmlDrawing3.v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oleObject" Target="../embeddings/oleObject12.bin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ags" Target="../tags/tag2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21.xml"/><Relationship Id="rId5" Type="http://schemas.openxmlformats.org/officeDocument/2006/relationships/slideLayout" Target="../slideLayouts/slideLayout21.xml"/><Relationship Id="rId10" Type="http://schemas.openxmlformats.org/officeDocument/2006/relationships/vmlDrawing" Target="../drawings/vmlDrawing12.v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oleObject" Target="../embeddings/oleObject21.bin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ags" Target="../tags/tag3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36.xml"/><Relationship Id="rId5" Type="http://schemas.openxmlformats.org/officeDocument/2006/relationships/slideLayout" Target="../slideLayouts/slideLayout29.xml"/><Relationship Id="rId10" Type="http://schemas.openxmlformats.org/officeDocument/2006/relationships/vmlDrawing" Target="../drawings/vmlDrawing21.v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4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oleObject" Target="../embeddings/oleObject23.bin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ags" Target="../tags/tag41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ags" Target="../tags/tag40.xml"/><Relationship Id="rId5" Type="http://schemas.openxmlformats.org/officeDocument/2006/relationships/slideLayout" Target="../slideLayouts/slideLayout37.xml"/><Relationship Id="rId10" Type="http://schemas.openxmlformats.org/officeDocument/2006/relationships/vmlDrawing" Target="../drawings/vmlDrawing23.vml"/><Relationship Id="rId4" Type="http://schemas.openxmlformats.org/officeDocument/2006/relationships/slideLayout" Target="../slideLayouts/slideLayout36.xml"/><Relationship Id="rId9" Type="http://schemas.openxmlformats.org/officeDocument/2006/relationships/theme" Target="../theme/theme5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49511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589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66" r:id="rId5"/>
    <p:sldLayoutId id="2147483672" r:id="rId6"/>
    <p:sldLayoutId id="2147483671" r:id="rId7"/>
    <p:sldLayoutId id="2147483673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69740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AF94C0B-926D-46F5-8F22-4C0EF55E20C2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8369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56415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AF94C0B-926D-46F5-8F22-4C0EF55E20C2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673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925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8383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5317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2698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5.xml"/><Relationship Id="rId7" Type="http://schemas.openxmlformats.org/officeDocument/2006/relationships/hyperlink" Target="https://www.slidebooks.com/" TargetMode="External"/><Relationship Id="rId2" Type="http://schemas.openxmlformats.org/officeDocument/2006/relationships/tags" Target="../tags/tag4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1A0FD28-B360-4C9C-A1CC-D67C30C868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5602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A1A0FD28-B360-4C9C-A1CC-D67C30C868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9D706AD-C795-4B0B-8C94-E58FEC7AC4B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61080C-C60C-4746-B6B1-A9A4FFA8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62483"/>
            <a:ext cx="9399105" cy="1660966"/>
          </a:xfrm>
        </p:spPr>
        <p:txBody>
          <a:bodyPr>
            <a:normAutofit fontScale="90000"/>
          </a:bodyPr>
          <a:lstStyle/>
          <a:p>
            <a:r>
              <a:rPr lang="en-GB" sz="6000" dirty="0"/>
              <a:t>Simple Project Risk Log and Issue Log</a:t>
            </a:r>
            <a:endParaRPr lang="en-US" sz="6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81CD62-85AB-400E-A66C-9594AAD807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5592759" cy="615553"/>
          </a:xfrm>
        </p:spPr>
        <p:txBody>
          <a:bodyPr wrap="square" lIns="0" tIns="0" rIns="0" bIns="0">
            <a:sp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000" b="1" dirty="0"/>
              <a:t>By ex-McKinsey, Deloitte and BCG Consultants specialized in Risk Management</a:t>
            </a:r>
          </a:p>
        </p:txBody>
      </p:sp>
      <p:pic>
        <p:nvPicPr>
          <p:cNvPr id="7" name="Picture 6">
            <a:hlinkClick r:id="rId7"/>
            <a:extLst>
              <a:ext uri="{FF2B5EF4-FFF2-40B4-BE49-F238E27FC236}">
                <a16:creationId xmlns:a16="http://schemas.microsoft.com/office/drawing/2014/main" id="{56F6D9FE-2BD8-43FA-8517-544E7B92AA1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6839" y="5334595"/>
            <a:ext cx="4306571" cy="126486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CC70D54-7ED4-413B-9765-58C9A9D81D3A}"/>
              </a:ext>
            </a:extLst>
          </p:cNvPr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F04C1B76-90D8-40DB-94ED-24A864BFBA56}"/>
                </a:ext>
              </a:extLst>
            </p:cNvPr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rgbClr val="FFFFFF">
                    <a:lumMod val="85000"/>
                  </a:srgbClr>
                </a:gs>
                <a:gs pos="34000">
                  <a:srgbClr val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F61102C-BCA7-4CBF-AA08-2A8190D41E84}"/>
                </a:ext>
              </a:extLst>
            </p:cNvPr>
            <p:cNvSpPr txBox="1"/>
            <p:nvPr/>
          </p:nvSpPr>
          <p:spPr>
            <a:xfrm rot="18948199">
              <a:off x="20409" y="266480"/>
              <a:ext cx="702416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D4B6D"/>
                  </a:solidFill>
                  <a:effectLst/>
                  <a:uLnTx/>
                  <a:uFillTx/>
                  <a:latin typeface="Arial"/>
                </a:rPr>
                <a:t>Confidential</a:t>
              </a: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B5637A05-21FA-40B2-8EC9-FA3CCC279379}"/>
                </a:ext>
              </a:extLst>
            </p:cNvPr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noFill/>
            <a:ln w="6350" cap="flat" cmpd="sng" algn="ctr">
              <a:solidFill>
                <a:srgbClr val="3692D4"/>
              </a:solidFill>
              <a:prstDash val="dash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AD4AD69A-E74E-4ECC-8128-6060F9673920}"/>
                </a:ext>
              </a:extLst>
            </p:cNvPr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noFill/>
            <a:ln w="6350" cap="flat" cmpd="sng" algn="ctr">
              <a:solidFill>
                <a:srgbClr val="3692D4"/>
              </a:solidFill>
              <a:prstDash val="dash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1319013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imple Project Risk Log</a:t>
            </a:r>
            <a:br>
              <a:rPr lang="en-US" sz="2400" kern="0" dirty="0"/>
            </a:br>
            <a:r>
              <a:rPr lang="en-US" sz="2400" b="0" kern="0" dirty="0"/>
              <a:t>3-level rat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800" smtClean="0">
                <a:solidFill>
                  <a:srgbClr val="ADAFBB"/>
                </a:solidFill>
              </a:rPr>
              <a:pPr/>
              <a:t>2</a:t>
            </a:fld>
            <a:endParaRPr lang="en-US" sz="800" dirty="0">
              <a:solidFill>
                <a:srgbClr val="ADAFBB"/>
              </a:solidFill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C97B4D14-17F6-46C4-92AE-CB17C728BF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8657740"/>
              </p:ext>
            </p:extLst>
          </p:nvPr>
        </p:nvGraphicFramePr>
        <p:xfrm>
          <a:off x="603249" y="1568677"/>
          <a:ext cx="10983911" cy="498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4031">
                  <a:extLst>
                    <a:ext uri="{9D8B030D-6E8A-4147-A177-3AD203B41FA5}">
                      <a16:colId xmlns:a16="http://schemas.microsoft.com/office/drawing/2014/main" val="1351976690"/>
                    </a:ext>
                  </a:extLst>
                </a:gridCol>
                <a:gridCol w="1340052">
                  <a:extLst>
                    <a:ext uri="{9D8B030D-6E8A-4147-A177-3AD203B41FA5}">
                      <a16:colId xmlns:a16="http://schemas.microsoft.com/office/drawing/2014/main" val="3088616597"/>
                    </a:ext>
                  </a:extLst>
                </a:gridCol>
                <a:gridCol w="2517061">
                  <a:extLst>
                    <a:ext uri="{9D8B030D-6E8A-4147-A177-3AD203B41FA5}">
                      <a16:colId xmlns:a16="http://schemas.microsoft.com/office/drawing/2014/main" val="3529697046"/>
                    </a:ext>
                  </a:extLst>
                </a:gridCol>
                <a:gridCol w="1175017">
                  <a:extLst>
                    <a:ext uri="{9D8B030D-6E8A-4147-A177-3AD203B41FA5}">
                      <a16:colId xmlns:a16="http://schemas.microsoft.com/office/drawing/2014/main" val="4168862341"/>
                    </a:ext>
                  </a:extLst>
                </a:gridCol>
                <a:gridCol w="1175017">
                  <a:extLst>
                    <a:ext uri="{9D8B030D-6E8A-4147-A177-3AD203B41FA5}">
                      <a16:colId xmlns:a16="http://schemas.microsoft.com/office/drawing/2014/main" val="1531915362"/>
                    </a:ext>
                  </a:extLst>
                </a:gridCol>
                <a:gridCol w="1175017">
                  <a:extLst>
                    <a:ext uri="{9D8B030D-6E8A-4147-A177-3AD203B41FA5}">
                      <a16:colId xmlns:a16="http://schemas.microsoft.com/office/drawing/2014/main" val="2219574283"/>
                    </a:ext>
                  </a:extLst>
                </a:gridCol>
                <a:gridCol w="2207615">
                  <a:extLst>
                    <a:ext uri="{9D8B030D-6E8A-4147-A177-3AD203B41FA5}">
                      <a16:colId xmlns:a16="http://schemas.microsoft.com/office/drawing/2014/main" val="2685416454"/>
                    </a:ext>
                  </a:extLst>
                </a:gridCol>
                <a:gridCol w="900101">
                  <a:extLst>
                    <a:ext uri="{9D8B030D-6E8A-4147-A177-3AD203B41FA5}">
                      <a16:colId xmlns:a16="http://schemas.microsoft.com/office/drawing/2014/main" val="3299786128"/>
                    </a:ext>
                  </a:extLst>
                </a:gridCol>
              </a:tblGrid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Risk #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Risk Title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Risk description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Impact</a:t>
                      </a:r>
                      <a:endParaRPr lang="en-US" sz="1200" dirty="0"/>
                    </a:p>
                    <a:p>
                      <a:pPr algn="ctr"/>
                      <a:r>
                        <a:rPr lang="en-GB" sz="800" b="0" dirty="0"/>
                        <a:t>(1=Minor; 2=Moderate; 3=Major)</a:t>
                      </a:r>
                      <a:endParaRPr lang="en-US" sz="800" b="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Probability</a:t>
                      </a:r>
                    </a:p>
                    <a:p>
                      <a:pPr algn="ctr"/>
                      <a:r>
                        <a:rPr lang="en-GB" sz="800" b="0" dirty="0"/>
                        <a:t>(1=Unlikely; 2=Possible; 3=Likely)</a:t>
                      </a:r>
                      <a:endParaRPr lang="en-US" sz="800" b="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Risk Value</a:t>
                      </a:r>
                    </a:p>
                    <a:p>
                      <a:pPr algn="ctr"/>
                      <a:r>
                        <a:rPr lang="en-US" sz="800" b="0" dirty="0"/>
                        <a:t>(Impact X Probability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Mitigation Strategy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Assigned to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9923419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Lower website spee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mproving the resolution of our images will increase the size of our images, which may lower our website page loading tim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2"/>
                          </a:solidFill>
                        </a:rPr>
                        <a:t>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2"/>
                          </a:solidFill>
                        </a:rPr>
                        <a:t>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0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r>
                        <a:rPr lang="en-GB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ind the sweet spot between quality images and page loading time</a:t>
                      </a:r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onal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3700245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High oil pric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A strong increase in oil price would create a high pressure on our profit margin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noProof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r>
                        <a:rPr lang="en-US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uy more oil than we need to build up our stock while the price of oil is at an affordable pric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alp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416472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noProof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2074618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533836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9498327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275694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9142500"/>
                  </a:ext>
                </a:extLst>
              </a:tr>
            </a:tbl>
          </a:graphicData>
        </a:graphic>
      </p:graphicFrame>
      <p:sp>
        <p:nvSpPr>
          <p:cNvPr id="15" name="Rounded Rectangle 131">
            <a:extLst>
              <a:ext uri="{FF2B5EF4-FFF2-40B4-BE49-F238E27FC236}">
                <a16:creationId xmlns:a16="http://schemas.microsoft.com/office/drawing/2014/main" id="{EEF272B5-B676-43D3-A2E6-FD83A340BBF0}"/>
              </a:ext>
            </a:extLst>
          </p:cNvPr>
          <p:cNvSpPr/>
          <p:nvPr/>
        </p:nvSpPr>
        <p:spPr bwMode="auto">
          <a:xfrm>
            <a:off x="9614263" y="335829"/>
            <a:ext cx="1972897" cy="221467"/>
          </a:xfrm>
          <a:prstGeom prst="roundRect">
            <a:avLst>
              <a:gd name="adj" fmla="val 3792"/>
            </a:avLst>
          </a:prstGeom>
          <a:solidFill>
            <a:srgbClr val="00B050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marL="0" marR="0" lvl="0" indent="0" defTabSz="623853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w priority (Risk value is 1, 2 or 3) 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ounded Rectangle 131">
            <a:extLst>
              <a:ext uri="{FF2B5EF4-FFF2-40B4-BE49-F238E27FC236}">
                <a16:creationId xmlns:a16="http://schemas.microsoft.com/office/drawing/2014/main" id="{AAF9FC20-02C3-4862-9325-1A4A588C82FE}"/>
              </a:ext>
            </a:extLst>
          </p:cNvPr>
          <p:cNvSpPr/>
          <p:nvPr/>
        </p:nvSpPr>
        <p:spPr bwMode="auto">
          <a:xfrm>
            <a:off x="9614263" y="622922"/>
            <a:ext cx="1972897" cy="221467"/>
          </a:xfrm>
          <a:prstGeom prst="roundRect">
            <a:avLst>
              <a:gd name="adj" fmla="val 3792"/>
            </a:avLst>
          </a:prstGeom>
          <a:solidFill>
            <a:srgbClr val="FFC000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defTabSz="623853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r>
              <a:rPr lang="en-GB" sz="800" b="1" kern="0" dirty="0">
                <a:solidFill>
                  <a:srgbClr val="FFFFFF"/>
                </a:solidFill>
                <a:latin typeface="Arial" panose="020B0604020202020204"/>
              </a:rPr>
              <a:t>Medium priority </a:t>
            </a: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Risk value is 6)</a:t>
            </a:r>
            <a:endParaRPr lang="en-US" sz="800" b="1" kern="0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9" name="Rounded Rectangle 131">
            <a:extLst>
              <a:ext uri="{FF2B5EF4-FFF2-40B4-BE49-F238E27FC236}">
                <a16:creationId xmlns:a16="http://schemas.microsoft.com/office/drawing/2014/main" id="{77BBBDD1-CB08-45B2-A324-415853E5C568}"/>
              </a:ext>
            </a:extLst>
          </p:cNvPr>
          <p:cNvSpPr/>
          <p:nvPr/>
        </p:nvSpPr>
        <p:spPr bwMode="auto">
          <a:xfrm>
            <a:off x="9614263" y="910015"/>
            <a:ext cx="1972897" cy="221467"/>
          </a:xfrm>
          <a:prstGeom prst="roundRect">
            <a:avLst>
              <a:gd name="adj" fmla="val 3792"/>
            </a:avLst>
          </a:prstGeom>
          <a:solidFill>
            <a:srgbClr val="FF0000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defTabSz="623853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r>
              <a:rPr lang="en-GB" sz="800" b="1" kern="0" dirty="0">
                <a:solidFill>
                  <a:srgbClr val="FFFFFF"/>
                </a:solidFill>
                <a:latin typeface="Arial" panose="020B0604020202020204"/>
              </a:rPr>
              <a:t>High priority </a:t>
            </a: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Risk value is 9)</a:t>
            </a:r>
            <a:endParaRPr lang="en-US" sz="800" b="1" kern="0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EAD642D-FE06-4E62-9E80-D0624E8068B2}"/>
              </a:ext>
            </a:extLst>
          </p:cNvPr>
          <p:cNvSpPr/>
          <p:nvPr/>
        </p:nvSpPr>
        <p:spPr bwMode="auto">
          <a:xfrm>
            <a:off x="8288593" y="2275160"/>
            <a:ext cx="159432" cy="15359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marR="0" lvl="0" indent="-182553" algn="just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Wingdings 3" pitchFamily="18" charset="2"/>
              <a:buChar char="}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C287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BFDB3B1-A074-42BE-BDC7-6208C40771E3}"/>
              </a:ext>
            </a:extLst>
          </p:cNvPr>
          <p:cNvSpPr/>
          <p:nvPr/>
        </p:nvSpPr>
        <p:spPr bwMode="auto">
          <a:xfrm>
            <a:off x="8286296" y="2965226"/>
            <a:ext cx="159432" cy="153594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endParaRPr lang="en-US" sz="800" b="1" kern="0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A0BBC20-B160-4C45-8180-7E5EB91BFB57}"/>
              </a:ext>
            </a:extLst>
          </p:cNvPr>
          <p:cNvSpPr/>
          <p:nvPr/>
        </p:nvSpPr>
        <p:spPr bwMode="auto">
          <a:xfrm>
            <a:off x="8286296" y="3578495"/>
            <a:ext cx="159432" cy="153594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2553" marR="0" lvl="0" indent="-182553" algn="just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Wingdings 3" pitchFamily="18" charset="2"/>
              <a:buChar char="}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C287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11970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imple Project Risk Log</a:t>
            </a:r>
            <a:br>
              <a:rPr lang="en-US" sz="2400" kern="0" dirty="0"/>
            </a:br>
            <a:r>
              <a:rPr lang="en-US" sz="2400" b="0" kern="0" dirty="0"/>
              <a:t>5-level rat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800" smtClean="0">
                <a:solidFill>
                  <a:srgbClr val="ADAFBB"/>
                </a:solidFill>
              </a:rPr>
              <a:pPr/>
              <a:t>3</a:t>
            </a:fld>
            <a:endParaRPr lang="en-US" sz="800" dirty="0">
              <a:solidFill>
                <a:srgbClr val="ADAFBB"/>
              </a:solidFill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C97B4D14-17F6-46C4-92AE-CB17C728BF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1374229"/>
              </p:ext>
            </p:extLst>
          </p:nvPr>
        </p:nvGraphicFramePr>
        <p:xfrm>
          <a:off x="603250" y="1568677"/>
          <a:ext cx="10987859" cy="498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3043">
                  <a:extLst>
                    <a:ext uri="{9D8B030D-6E8A-4147-A177-3AD203B41FA5}">
                      <a16:colId xmlns:a16="http://schemas.microsoft.com/office/drawing/2014/main" val="1351976690"/>
                    </a:ext>
                  </a:extLst>
                </a:gridCol>
                <a:gridCol w="1337372">
                  <a:extLst>
                    <a:ext uri="{9D8B030D-6E8A-4147-A177-3AD203B41FA5}">
                      <a16:colId xmlns:a16="http://schemas.microsoft.com/office/drawing/2014/main" val="3088616597"/>
                    </a:ext>
                  </a:extLst>
                </a:gridCol>
                <a:gridCol w="2512028">
                  <a:extLst>
                    <a:ext uri="{9D8B030D-6E8A-4147-A177-3AD203B41FA5}">
                      <a16:colId xmlns:a16="http://schemas.microsoft.com/office/drawing/2014/main" val="3529697046"/>
                    </a:ext>
                  </a:extLst>
                </a:gridCol>
                <a:gridCol w="1185624">
                  <a:extLst>
                    <a:ext uri="{9D8B030D-6E8A-4147-A177-3AD203B41FA5}">
                      <a16:colId xmlns:a16="http://schemas.microsoft.com/office/drawing/2014/main" val="4168862341"/>
                    </a:ext>
                  </a:extLst>
                </a:gridCol>
                <a:gridCol w="1185624">
                  <a:extLst>
                    <a:ext uri="{9D8B030D-6E8A-4147-A177-3AD203B41FA5}">
                      <a16:colId xmlns:a16="http://schemas.microsoft.com/office/drawing/2014/main" val="1531915362"/>
                    </a:ext>
                  </a:extLst>
                </a:gridCol>
                <a:gridCol w="1172667">
                  <a:extLst>
                    <a:ext uri="{9D8B030D-6E8A-4147-A177-3AD203B41FA5}">
                      <a16:colId xmlns:a16="http://schemas.microsoft.com/office/drawing/2014/main" val="2219574283"/>
                    </a:ext>
                  </a:extLst>
                </a:gridCol>
                <a:gridCol w="2203200">
                  <a:extLst>
                    <a:ext uri="{9D8B030D-6E8A-4147-A177-3AD203B41FA5}">
                      <a16:colId xmlns:a16="http://schemas.microsoft.com/office/drawing/2014/main" val="2685416454"/>
                    </a:ext>
                  </a:extLst>
                </a:gridCol>
                <a:gridCol w="898301">
                  <a:extLst>
                    <a:ext uri="{9D8B030D-6E8A-4147-A177-3AD203B41FA5}">
                      <a16:colId xmlns:a16="http://schemas.microsoft.com/office/drawing/2014/main" val="3299786128"/>
                    </a:ext>
                  </a:extLst>
                </a:gridCol>
              </a:tblGrid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Risk #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Risk Title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Risk description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Impact</a:t>
                      </a:r>
                      <a:endParaRPr lang="en-US" sz="1200" dirty="0"/>
                    </a:p>
                    <a:p>
                      <a:pPr algn="ctr"/>
                      <a:r>
                        <a:rPr lang="en-GB" sz="800" b="0" dirty="0"/>
                        <a:t>(1=Marginal; 2=Minor; 3=Moderate; 4=Major; 5=Severe)</a:t>
                      </a:r>
                      <a:endParaRPr lang="en-US" sz="800" b="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Probability</a:t>
                      </a:r>
                    </a:p>
                    <a:p>
                      <a:pPr algn="ctr"/>
                      <a:r>
                        <a:rPr lang="en-GB" sz="800" b="0" dirty="0"/>
                        <a:t>(1=Rare; 2=Unlikely; 3=Possible; 4=Likely; 5=Almost certain)</a:t>
                      </a:r>
                      <a:endParaRPr lang="en-US" sz="800" b="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Risk Value</a:t>
                      </a:r>
                    </a:p>
                    <a:p>
                      <a:pPr algn="ctr"/>
                      <a:r>
                        <a:rPr lang="en-US" sz="800" b="0" dirty="0"/>
                        <a:t>(Impact X Probability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/>
                        <a:t>Mitigation Strategy</a:t>
                      </a:r>
                      <a:endParaRPr lang="en-US" sz="105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Assigned to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9923419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Lower website spee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mproving the resolution of our images will increase the size of our images, which may lower our website page loading tim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0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r>
                        <a:rPr lang="en-GB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ind the sweet spot between quality images and page loading time</a:t>
                      </a:r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onal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3700245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High oil pric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A strong increase in oil price would create a high pressure on our profit margin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noProof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r>
                        <a:rPr lang="en-US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uy more oil than we need to build up our stock while the price of oil is at an affordable pric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alp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416472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noProof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2074618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533836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9498327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275694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9142500"/>
                  </a:ext>
                </a:extLst>
              </a:tr>
            </a:tbl>
          </a:graphicData>
        </a:graphic>
      </p:graphicFrame>
      <p:sp>
        <p:nvSpPr>
          <p:cNvPr id="2" name="Rounded Rectangle 131">
            <a:extLst>
              <a:ext uri="{FF2B5EF4-FFF2-40B4-BE49-F238E27FC236}">
                <a16:creationId xmlns:a16="http://schemas.microsoft.com/office/drawing/2014/main" id="{000479BB-683E-4523-8388-2FB99CC6DF1C}"/>
              </a:ext>
            </a:extLst>
          </p:cNvPr>
          <p:cNvSpPr/>
          <p:nvPr/>
        </p:nvSpPr>
        <p:spPr bwMode="auto">
          <a:xfrm>
            <a:off x="9117873" y="335829"/>
            <a:ext cx="2469287" cy="221467"/>
          </a:xfrm>
          <a:prstGeom prst="roundRect">
            <a:avLst>
              <a:gd name="adj" fmla="val 3792"/>
            </a:avLst>
          </a:prstGeom>
          <a:solidFill>
            <a:srgbClr val="00B050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marL="0" marR="0" lvl="0" indent="0" defTabSz="623853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w priority (Risk value ≤ 5) 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Rounded Rectangle 131">
            <a:extLst>
              <a:ext uri="{FF2B5EF4-FFF2-40B4-BE49-F238E27FC236}">
                <a16:creationId xmlns:a16="http://schemas.microsoft.com/office/drawing/2014/main" id="{E8A411BF-26DF-44D9-8CCC-11611318E0D9}"/>
              </a:ext>
            </a:extLst>
          </p:cNvPr>
          <p:cNvSpPr/>
          <p:nvPr/>
        </p:nvSpPr>
        <p:spPr bwMode="auto">
          <a:xfrm>
            <a:off x="9117873" y="622922"/>
            <a:ext cx="2469287" cy="221467"/>
          </a:xfrm>
          <a:prstGeom prst="roundRect">
            <a:avLst>
              <a:gd name="adj" fmla="val 3792"/>
            </a:avLst>
          </a:prstGeom>
          <a:solidFill>
            <a:srgbClr val="FFC000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defTabSz="623853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r>
              <a:rPr lang="en-GB" sz="800" b="1" kern="0" dirty="0">
                <a:solidFill>
                  <a:srgbClr val="FFFFFF"/>
                </a:solidFill>
                <a:latin typeface="Arial" panose="020B0604020202020204"/>
              </a:rPr>
              <a:t>Medium priority </a:t>
            </a: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Risk value is </a:t>
            </a:r>
            <a:r>
              <a:rPr lang="en-GB" sz="800" b="1" kern="0" dirty="0">
                <a:solidFill>
                  <a:srgbClr val="FFFFFF"/>
                </a:solidFill>
                <a:latin typeface="Arial" panose="020B0604020202020204"/>
              </a:rPr>
              <a:t>between </a:t>
            </a: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 &amp; 14)</a:t>
            </a:r>
            <a:endParaRPr lang="en-US" sz="800" b="1" kern="0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" name="Rounded Rectangle 131">
            <a:extLst>
              <a:ext uri="{FF2B5EF4-FFF2-40B4-BE49-F238E27FC236}">
                <a16:creationId xmlns:a16="http://schemas.microsoft.com/office/drawing/2014/main" id="{C615FF1B-6695-4F9B-ADC6-8B7CDAE45D36}"/>
              </a:ext>
            </a:extLst>
          </p:cNvPr>
          <p:cNvSpPr/>
          <p:nvPr/>
        </p:nvSpPr>
        <p:spPr bwMode="auto">
          <a:xfrm>
            <a:off x="9117873" y="910015"/>
            <a:ext cx="2469287" cy="221467"/>
          </a:xfrm>
          <a:prstGeom prst="roundRect">
            <a:avLst>
              <a:gd name="adj" fmla="val 3792"/>
            </a:avLst>
          </a:prstGeom>
          <a:solidFill>
            <a:srgbClr val="FF0000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defTabSz="623853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r>
              <a:rPr lang="en-GB" sz="800" b="1" kern="0" dirty="0">
                <a:solidFill>
                  <a:srgbClr val="FFFFFF"/>
                </a:solidFill>
                <a:latin typeface="Arial" panose="020B0604020202020204"/>
              </a:rPr>
              <a:t>High priority </a:t>
            </a: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Risk value is &gt;=15)</a:t>
            </a:r>
            <a:endParaRPr lang="en-US" sz="800" b="1" kern="0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B3A123A-0BED-433F-B01F-04140C766AAA}"/>
              </a:ext>
            </a:extLst>
          </p:cNvPr>
          <p:cNvSpPr/>
          <p:nvPr/>
        </p:nvSpPr>
        <p:spPr bwMode="auto">
          <a:xfrm>
            <a:off x="8288593" y="2275160"/>
            <a:ext cx="159432" cy="15359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marR="0" lvl="0" indent="-182553" algn="just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Wingdings 3" pitchFamily="18" charset="2"/>
              <a:buChar char="}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C287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36110AD-8609-4B2F-8259-6AA101A5696F}"/>
              </a:ext>
            </a:extLst>
          </p:cNvPr>
          <p:cNvSpPr/>
          <p:nvPr/>
        </p:nvSpPr>
        <p:spPr bwMode="auto">
          <a:xfrm>
            <a:off x="8286296" y="2965226"/>
            <a:ext cx="159432" cy="153594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endParaRPr lang="en-US" sz="800" b="1" kern="0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56B5EA7-1E0D-4007-95E4-68E54E6D4533}"/>
              </a:ext>
            </a:extLst>
          </p:cNvPr>
          <p:cNvSpPr/>
          <p:nvPr/>
        </p:nvSpPr>
        <p:spPr bwMode="auto">
          <a:xfrm>
            <a:off x="8286296" y="3578495"/>
            <a:ext cx="159432" cy="153594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2553" marR="0" lvl="0" indent="-182553" algn="just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Wingdings 3" pitchFamily="18" charset="2"/>
              <a:buChar char="}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C287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84218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imple Project Issue Log</a:t>
            </a:r>
            <a:endParaRPr lang="en-US" sz="2400" b="0" kern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800" smtClean="0">
                <a:solidFill>
                  <a:srgbClr val="ADAFBB"/>
                </a:solidFill>
              </a:rPr>
              <a:pPr/>
              <a:t>4</a:t>
            </a:fld>
            <a:endParaRPr lang="en-US" sz="800" dirty="0">
              <a:solidFill>
                <a:srgbClr val="ADAFBB"/>
              </a:solidFill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C97B4D14-17F6-46C4-92AE-CB17C728BF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5374477"/>
              </p:ext>
            </p:extLst>
          </p:nvPr>
        </p:nvGraphicFramePr>
        <p:xfrm>
          <a:off x="603249" y="1568677"/>
          <a:ext cx="10983909" cy="49792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1793">
                  <a:extLst>
                    <a:ext uri="{9D8B030D-6E8A-4147-A177-3AD203B41FA5}">
                      <a16:colId xmlns:a16="http://schemas.microsoft.com/office/drawing/2014/main" val="1351976690"/>
                    </a:ext>
                  </a:extLst>
                </a:gridCol>
                <a:gridCol w="1583920">
                  <a:extLst>
                    <a:ext uri="{9D8B030D-6E8A-4147-A177-3AD203B41FA5}">
                      <a16:colId xmlns:a16="http://schemas.microsoft.com/office/drawing/2014/main" val="3088616597"/>
                    </a:ext>
                  </a:extLst>
                </a:gridCol>
                <a:gridCol w="2281165">
                  <a:extLst>
                    <a:ext uri="{9D8B030D-6E8A-4147-A177-3AD203B41FA5}">
                      <a16:colId xmlns:a16="http://schemas.microsoft.com/office/drawing/2014/main" val="3529697046"/>
                    </a:ext>
                  </a:extLst>
                </a:gridCol>
                <a:gridCol w="2199280">
                  <a:extLst>
                    <a:ext uri="{9D8B030D-6E8A-4147-A177-3AD203B41FA5}">
                      <a16:colId xmlns:a16="http://schemas.microsoft.com/office/drawing/2014/main" val="4168862341"/>
                    </a:ext>
                  </a:extLst>
                </a:gridCol>
                <a:gridCol w="1425917">
                  <a:extLst>
                    <a:ext uri="{9D8B030D-6E8A-4147-A177-3AD203B41FA5}">
                      <a16:colId xmlns:a16="http://schemas.microsoft.com/office/drawing/2014/main" val="1531915362"/>
                    </a:ext>
                  </a:extLst>
                </a:gridCol>
                <a:gridCol w="1425917">
                  <a:extLst>
                    <a:ext uri="{9D8B030D-6E8A-4147-A177-3AD203B41FA5}">
                      <a16:colId xmlns:a16="http://schemas.microsoft.com/office/drawing/2014/main" val="2219574283"/>
                    </a:ext>
                  </a:extLst>
                </a:gridCol>
                <a:gridCol w="1425917">
                  <a:extLst>
                    <a:ext uri="{9D8B030D-6E8A-4147-A177-3AD203B41FA5}">
                      <a16:colId xmlns:a16="http://schemas.microsoft.com/office/drawing/2014/main" val="1561190849"/>
                    </a:ext>
                  </a:extLst>
                </a:gridCol>
              </a:tblGrid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Issue #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Issue Title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Issue description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dirty="0"/>
                        <a:t>Action</a:t>
                      </a:r>
                      <a:endParaRPr lang="en-US" sz="800" b="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dirty="0"/>
                        <a:t>Assigned to</a:t>
                      </a:r>
                      <a:endParaRPr lang="en-US" sz="800" b="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Deadline</a:t>
                      </a:r>
                      <a:endParaRPr lang="en-US" sz="800" b="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tatu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9923419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High Employee Turnover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tx2"/>
                          </a:solidFill>
                        </a:rPr>
                        <a:t>Low employee satisfaction since a new CEO was appointed</a:t>
                      </a:r>
                      <a:endParaRPr lang="en-US" sz="10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r>
                        <a:rPr lang="en-GB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aunch a survey to understand what causes a low satisfaction among the employees</a:t>
                      </a:r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2"/>
                          </a:solidFill>
                        </a:rPr>
                        <a:t>Donal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0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ecember 8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050" b="1" kern="1200" dirty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Ope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3700245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New competitor entered our marke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A new competitor backed up by a venture capitalist firm entered our market with a heavy budge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r>
                        <a:rPr lang="en-US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crease our advertising budget to emphasize the unique selling proposition (USP) and superiority of our produc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noProof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kern="1200" noProof="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Close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416472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issue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issue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action to be done to resolve the issue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name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2074618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issue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issue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action to be done to resolve the issue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name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533836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issue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issue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action to be done to resolve the issue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name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9498327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issue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issue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action to be done to resolve the issue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name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275694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issue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issue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action to be done to resolve the issu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91425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19337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BTEdqTJuZorA5zjLHa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f_KUtE1chzmDF5Hakt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KEfDNJ2jZyd4cLfnse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c25HsvOMS_Ylspm2Gn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X50tgtcN0O6Tp2MINBf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Xd0gCJm7EZ3QOnAL2n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BTEdqTJuZorA5zjLHa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f_KUtE1chzmDF5Haktq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KEfDNJ2jZyd4cLfnseL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c25HsvOMS_Ylspm2Gn1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8zb6CnzZhTWhOd86FwM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X50tgtcN0O6Tp2MINB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Xd0gCJm7EZ3QOnAL2nkQ"/>
</p:tagLst>
</file>

<file path=ppt/theme/theme1.xml><?xml version="1.0" encoding="utf-8"?>
<a:theme xmlns:a="http://schemas.openxmlformats.org/drawingml/2006/main" name="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2" ma:contentTypeDescription="Create a new document." ma:contentTypeScope="" ma:versionID="a8a52e8c320b9a064ae3583ae3861c92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88020cb39231a0945110f9cd888b521a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71af3243-3dd4-4a8d-8c0d-dd76da1f02a5">Not started</Status>
    <MediaServiceKeyPoints xmlns="71af3243-3dd4-4a8d-8c0d-dd76da1f02a5" xsi:nil="true"/>
  </documentManagement>
</p:properties>
</file>

<file path=customXml/itemProps1.xml><?xml version="1.0" encoding="utf-8"?>
<ds:datastoreItem xmlns:ds="http://schemas.openxmlformats.org/officeDocument/2006/customXml" ds:itemID="{FD7FC771-7DFE-49DA-B577-71181BFBCB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EE8C63A-4744-4DE4-BB49-0FF0B5375C6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50072C5-DDE0-4258-BA7A-4D4B80DFA632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37</TotalTime>
  <Words>746</Words>
  <Application>Microsoft Office PowerPoint</Application>
  <PresentationFormat>Widescreen</PresentationFormat>
  <Paragraphs>172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</vt:lpstr>
      <vt:lpstr>Calibri</vt:lpstr>
      <vt:lpstr>Wingdings 3</vt:lpstr>
      <vt:lpstr>Custom Design</vt:lpstr>
      <vt:lpstr>1_Custom Design</vt:lpstr>
      <vt:lpstr>2_Custom Design</vt:lpstr>
      <vt:lpstr>3_Custom Design</vt:lpstr>
      <vt:lpstr>4_Custom Design</vt:lpstr>
      <vt:lpstr>think-cell Slide</vt:lpstr>
      <vt:lpstr>Simple Project Risk Log and Issue Log</vt:lpstr>
      <vt:lpstr>Simple Project Risk Log 3-level rating</vt:lpstr>
      <vt:lpstr>Simple Project Risk Log 5-level rating</vt:lpstr>
      <vt:lpstr>Simple Project Issue Lo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PowerPoint</dc:title>
  <dc:creator>Aurelien Dom</dc:creator>
  <cp:keywords/>
  <cp:lastModifiedBy>Aurelien Domont</cp:lastModifiedBy>
  <cp:revision>233</cp:revision>
  <dcterms:created xsi:type="dcterms:W3CDTF">2020-07-08T04:44:55Z</dcterms:created>
  <dcterms:modified xsi:type="dcterms:W3CDTF">2020-10-27T05:17:21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